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9" r:id="rId1"/>
    <p:sldMasterId id="2147483653" r:id="rId2"/>
    <p:sldMasterId id="2147483665" r:id="rId3"/>
  </p:sldMasterIdLst>
  <p:notesMasterIdLst>
    <p:notesMasterId r:id="rId5"/>
  </p:notesMasterIdLst>
  <p:handoutMasterIdLst>
    <p:handoutMasterId r:id="rId6"/>
  </p:handoutMasterIdLst>
  <p:sldIdLst>
    <p:sldId id="279" r:id="rId4"/>
  </p:sldIdLst>
  <p:sldSz cx="20574000" cy="36576000"/>
  <p:notesSz cx="6729413" cy="9867900"/>
  <p:custDataLst>
    <p:tags r:id="rId7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325078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650156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975234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300316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1625394" algn="l" defTabSz="650156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1950472" algn="l" defTabSz="650156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2275550" algn="l" defTabSz="650156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2600628" algn="l" defTabSz="650156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36">
          <p15:clr>
            <a:srgbClr val="A4A3A4"/>
          </p15:clr>
        </p15:guide>
        <p15:guide id="2" orient="horz" pos="22416">
          <p15:clr>
            <a:srgbClr val="A4A3A4"/>
          </p15:clr>
        </p15:guide>
        <p15:guide id="3" orient="horz" pos="22016">
          <p15:clr>
            <a:srgbClr val="A4A3A4"/>
          </p15:clr>
        </p15:guide>
        <p15:guide id="4" orient="horz" pos="1120">
          <p15:clr>
            <a:srgbClr val="A4A3A4"/>
          </p15:clr>
        </p15:guide>
        <p15:guide id="5" orient="horz" pos="1768">
          <p15:clr>
            <a:srgbClr val="A4A3A4"/>
          </p15:clr>
        </p15:guide>
        <p15:guide id="6" orient="horz" pos="348">
          <p15:clr>
            <a:srgbClr val="A4A3A4"/>
          </p15:clr>
        </p15:guide>
        <p15:guide id="7" orient="horz" pos="22640">
          <p15:clr>
            <a:srgbClr val="A4A3A4"/>
          </p15:clr>
        </p15:guide>
        <p15:guide id="8" pos="864">
          <p15:clr>
            <a:srgbClr val="A4A3A4"/>
          </p15:clr>
        </p15:guide>
        <p15:guide id="9" pos="11668">
          <p15:clr>
            <a:srgbClr val="A4A3A4"/>
          </p15:clr>
        </p15:guide>
        <p15:guide id="10" pos="12672">
          <p15:clr>
            <a:srgbClr val="A4A3A4"/>
          </p15:clr>
        </p15:guide>
        <p15:guide id="11" pos="29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>
          <p15:clr>
            <a:srgbClr val="A4A3A4"/>
          </p15:clr>
        </p15:guide>
        <p15:guide id="2" pos="211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FF33"/>
    <a:srgbClr val="66CCFF"/>
    <a:srgbClr val="339933"/>
    <a:srgbClr val="FFCC00"/>
    <a:srgbClr val="E552A3"/>
    <a:srgbClr val="29DB90"/>
    <a:srgbClr val="A90BE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9355D98-2F7E-4D9F-87F3-0469582BDFBC}" v="3" dt="2022-11-16T09:16:03.90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808" autoAdjust="0"/>
    <p:restoredTop sz="96389" autoAdjust="0"/>
  </p:normalViewPr>
  <p:slideViewPr>
    <p:cSldViewPr showGuides="1">
      <p:cViewPr>
        <p:scale>
          <a:sx n="42" d="100"/>
          <a:sy n="42" d="100"/>
        </p:scale>
        <p:origin x="624" y="-6336"/>
      </p:cViewPr>
      <p:guideLst>
        <p:guide orient="horz" pos="2336"/>
        <p:guide orient="horz" pos="22416"/>
        <p:guide orient="horz" pos="22016"/>
        <p:guide orient="horz" pos="1120"/>
        <p:guide orient="horz" pos="1768"/>
        <p:guide orient="horz" pos="348"/>
        <p:guide orient="horz" pos="22640"/>
        <p:guide pos="864"/>
        <p:guide pos="11668"/>
        <p:guide pos="12672"/>
        <p:guide pos="29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6" d="100"/>
          <a:sy n="86" d="100"/>
        </p:scale>
        <p:origin x="-3930" y="-72"/>
      </p:cViewPr>
      <p:guideLst>
        <p:guide orient="horz" pos="3108"/>
        <p:guide pos="211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10" name="Picture 14" descr="asml-logo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8625" y="0"/>
            <a:ext cx="2490788" cy="881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46088" y="360363"/>
            <a:ext cx="3913187" cy="385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193" tIns="45096" rIns="90193" bIns="45096" numCol="1" anchor="t" anchorCtr="0" compatLnSpc="1">
            <a:prstTxWarp prst="textNoShape">
              <a:avLst/>
            </a:prstTxWarp>
          </a:bodyPr>
          <a:lstStyle>
            <a:lvl1pPr defTabSz="901700">
              <a:defRPr sz="1200"/>
            </a:lvl1pPr>
          </a:lstStyle>
          <a:p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52438" y="9374188"/>
            <a:ext cx="603250" cy="493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193" tIns="45096" rIns="90193" bIns="45096" numCol="1" anchor="b" anchorCtr="0" compatLnSpc="1">
            <a:prstTxWarp prst="textNoShape">
              <a:avLst/>
            </a:prstTxWarp>
          </a:bodyPr>
          <a:lstStyle>
            <a:lvl1pPr algn="r" defTabSz="901700">
              <a:defRPr sz="1200"/>
            </a:lvl1pPr>
          </a:lstStyle>
          <a:p>
            <a:endParaRPr lang="en-US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157288" y="9374188"/>
            <a:ext cx="5089525" cy="493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193" tIns="45096" rIns="90193" bIns="45096" numCol="1" anchor="b" anchorCtr="0" compatLnSpc="1">
            <a:prstTxWarp prst="textNoShape">
              <a:avLst/>
            </a:prstTxWarp>
          </a:bodyPr>
          <a:lstStyle>
            <a:lvl1pPr defTabSz="901700">
              <a:defRPr sz="1200"/>
            </a:lvl1pPr>
          </a:lstStyle>
          <a:p>
            <a:endParaRPr lang="en-US"/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340475" y="9374188"/>
            <a:ext cx="388938" cy="493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193" tIns="45096" rIns="90193" bIns="45096" numCol="1" anchor="b" anchorCtr="0" compatLnSpc="1">
            <a:prstTxWarp prst="textNoShape">
              <a:avLst/>
            </a:prstTxWarp>
          </a:bodyPr>
          <a:lstStyle>
            <a:lvl1pPr algn="r" defTabSz="901700">
              <a:defRPr sz="1200"/>
            </a:lvl1pPr>
          </a:lstStyle>
          <a:p>
            <a:fld id="{5CD6086E-A90C-42A2-A900-EF97CBA19A02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90382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5" name="Picture 13" descr="asml-logo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8625" y="8986838"/>
            <a:ext cx="2490788" cy="881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919163" y="239713"/>
            <a:ext cx="4891087" cy="398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193" tIns="45096" rIns="90193" bIns="45096" numCol="1" anchor="t" anchorCtr="0" compatLnSpc="1">
            <a:prstTxWarp prst="textNoShape">
              <a:avLst/>
            </a:prstTxWarp>
          </a:bodyPr>
          <a:lstStyle>
            <a:lvl1pPr defTabSz="901700">
              <a:defRPr sz="1200"/>
            </a:lvl1pPr>
          </a:lstStyle>
          <a:p>
            <a:endParaRPr lang="en-US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254250" y="739775"/>
            <a:ext cx="2222500" cy="39497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12775" y="4933950"/>
            <a:ext cx="5503863" cy="3736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193" tIns="45096" rIns="90193" bIns="450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80" name="Rectangle 8"/>
          <p:cNvSpPr>
            <a:spLocks noGrp="1" noChangeArrowheads="1"/>
          </p:cNvSpPr>
          <p:nvPr>
            <p:ph type="dt" idx="1"/>
          </p:nvPr>
        </p:nvSpPr>
        <p:spPr bwMode="auto">
          <a:xfrm>
            <a:off x="50800" y="8747125"/>
            <a:ext cx="1071563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193" tIns="45096" rIns="90193" bIns="45096" numCol="1" anchor="b" anchorCtr="0" compatLnSpc="1">
            <a:prstTxWarp prst="textNoShape">
              <a:avLst/>
            </a:prstTxWarp>
          </a:bodyPr>
          <a:lstStyle>
            <a:lvl1pPr algn="r" defTabSz="901700">
              <a:defRPr sz="1200"/>
            </a:lvl1pPr>
          </a:lstStyle>
          <a:p>
            <a:endParaRPr lang="en-US"/>
          </a:p>
        </p:txBody>
      </p:sp>
      <p:sp>
        <p:nvSpPr>
          <p:cNvPr id="3081" name="Rectangle 9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196975" y="8747125"/>
            <a:ext cx="4843463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193" tIns="45096" rIns="90193" bIns="45096" numCol="1" anchor="b" anchorCtr="0" compatLnSpc="1">
            <a:prstTxWarp prst="textNoShape">
              <a:avLst/>
            </a:prstTxWarp>
          </a:bodyPr>
          <a:lstStyle>
            <a:lvl1pPr defTabSz="901700">
              <a:defRPr sz="1200"/>
            </a:lvl1pPr>
          </a:lstStyle>
          <a:p>
            <a:endParaRPr lang="en-US"/>
          </a:p>
        </p:txBody>
      </p:sp>
      <p:sp>
        <p:nvSpPr>
          <p:cNvPr id="3082" name="Rectangle 10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116638" y="8729663"/>
            <a:ext cx="612775" cy="315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193" tIns="45096" rIns="90193" bIns="45096" numCol="1" anchor="b" anchorCtr="0" compatLnSpc="1">
            <a:prstTxWarp prst="textNoShape">
              <a:avLst/>
            </a:prstTxWarp>
          </a:bodyPr>
          <a:lstStyle>
            <a:lvl1pPr algn="r" defTabSz="901700">
              <a:defRPr sz="1200"/>
            </a:lvl1pPr>
          </a:lstStyle>
          <a:p>
            <a:fld id="{A1132A84-EFBD-4035-AFA0-0F9538467A8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9047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1pPr>
    <a:lvl2pPr marL="325078" algn="l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2pPr>
    <a:lvl3pPr marL="650156" algn="l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3pPr>
    <a:lvl4pPr marL="975234" algn="l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4pPr>
    <a:lvl5pPr marL="1300316" algn="l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5pPr>
    <a:lvl6pPr marL="1625394" algn="l" defTabSz="65015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1950472" algn="l" defTabSz="65015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2275550" algn="l" defTabSz="65015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2600628" algn="l" defTabSz="65015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0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B937DF1-1BC2-4D49-86C1-5CD88441DD99}" type="slidenum">
              <a:rPr lang="en-US"/>
              <a:pPr/>
              <a:t>1</a:t>
            </a:fld>
            <a:endParaRPr lang="en-US"/>
          </a:p>
        </p:txBody>
      </p:sp>
      <p:sp>
        <p:nvSpPr>
          <p:cNvPr id="403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254250" y="739775"/>
            <a:ext cx="2222500" cy="3949700"/>
          </a:xfrm>
          <a:ln/>
        </p:spPr>
      </p:sp>
      <p:sp>
        <p:nvSpPr>
          <p:cNvPr id="40345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el 1"/>
          <p:cNvSpPr>
            <a:spLocks noGrp="1"/>
          </p:cNvSpPr>
          <p:nvPr>
            <p:ph type="ctrTitle"/>
          </p:nvPr>
        </p:nvSpPr>
        <p:spPr>
          <a:xfrm>
            <a:off x="1373548" y="1780008"/>
            <a:ext cx="11045456" cy="47656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lnSpc>
                <a:spcPts val="1708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30" name="Ondertitel 2"/>
          <p:cNvSpPr>
            <a:spLocks noGrp="1"/>
          </p:cNvSpPr>
          <p:nvPr>
            <p:ph type="subTitle" idx="1"/>
          </p:nvPr>
        </p:nvSpPr>
        <p:spPr>
          <a:xfrm>
            <a:off x="1373548" y="2524282"/>
            <a:ext cx="11045456" cy="29785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l">
              <a:lnSpc>
                <a:spcPts val="1068"/>
              </a:lnSpc>
              <a:spcAft>
                <a:spcPts val="0"/>
              </a:spcAft>
              <a:buNone/>
              <a:defRPr sz="2000" b="0">
                <a:solidFill>
                  <a:schemeClr val="tx1"/>
                </a:solidFill>
              </a:defRPr>
            </a:lvl1pPr>
            <a:lvl2pPr marL="325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501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75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003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253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950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2755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00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nl-NL" dirty="0"/>
          </a:p>
        </p:txBody>
      </p:sp>
      <p:sp>
        <p:nvSpPr>
          <p:cNvPr id="42" name="Tijdelijke aanduiding voor tekst 41"/>
          <p:cNvSpPr>
            <a:spLocks noGrp="1"/>
          </p:cNvSpPr>
          <p:nvPr>
            <p:ph type="body" sz="quarter" idx="10" hasCustomPrompt="1"/>
          </p:nvPr>
        </p:nvSpPr>
        <p:spPr>
          <a:xfrm>
            <a:off x="13288188" y="3319392"/>
            <a:ext cx="5233120" cy="44677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spcBef>
                <a:spcPts val="0"/>
              </a:spcBef>
              <a:spcAft>
                <a:spcPts val="0"/>
              </a:spcAft>
              <a:defRPr sz="2800"/>
            </a:lvl1pPr>
          </a:lstStyle>
          <a:p>
            <a:pPr lvl="0"/>
            <a:r>
              <a:rPr lang="nl-NL" sz="2800" dirty="0" err="1"/>
              <a:t>Category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551037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1/13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1716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8702" y="1455746"/>
            <a:ext cx="6768380" cy="6197764"/>
          </a:xfrm>
        </p:spPr>
        <p:txBody>
          <a:bodyPr anchor="b"/>
          <a:lstStyle>
            <a:lvl1pPr algn="l">
              <a:defRPr sz="1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043540" y="1455746"/>
            <a:ext cx="11501760" cy="3121718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8702" y="7653510"/>
            <a:ext cx="6768380" cy="25019412"/>
          </a:xfrm>
        </p:spPr>
        <p:txBody>
          <a:bodyPr/>
          <a:lstStyle>
            <a:lvl1pPr marL="0" indent="0">
              <a:buNone/>
              <a:defRPr sz="800"/>
            </a:lvl1pPr>
            <a:lvl2pPr marL="325078" indent="0">
              <a:buNone/>
              <a:defRPr sz="800"/>
            </a:lvl2pPr>
            <a:lvl3pPr marL="650156" indent="0">
              <a:buNone/>
              <a:defRPr sz="800"/>
            </a:lvl3pPr>
            <a:lvl4pPr marL="975234" indent="0">
              <a:buNone/>
              <a:defRPr sz="800"/>
            </a:lvl4pPr>
            <a:lvl5pPr marL="1300316" indent="0">
              <a:buNone/>
              <a:defRPr sz="800"/>
            </a:lvl5pPr>
            <a:lvl6pPr marL="1625394" indent="0">
              <a:buNone/>
              <a:defRPr sz="800"/>
            </a:lvl6pPr>
            <a:lvl7pPr marL="1950472" indent="0">
              <a:buNone/>
              <a:defRPr sz="800"/>
            </a:lvl7pPr>
            <a:lvl8pPr marL="2275550" indent="0">
              <a:buNone/>
              <a:defRPr sz="800"/>
            </a:lvl8pPr>
            <a:lvl9pPr marL="2600628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1/13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85561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32972" y="25602706"/>
            <a:ext cx="12344400" cy="3023180"/>
          </a:xfrm>
        </p:spPr>
        <p:txBody>
          <a:bodyPr anchor="b"/>
          <a:lstStyle>
            <a:lvl1pPr algn="l">
              <a:defRPr sz="1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032972" y="3267664"/>
            <a:ext cx="12344400" cy="21946592"/>
          </a:xfrm>
        </p:spPr>
        <p:txBody>
          <a:bodyPr/>
          <a:lstStyle>
            <a:lvl1pPr marL="0" indent="0">
              <a:buNone/>
              <a:defRPr sz="2400"/>
            </a:lvl1pPr>
            <a:lvl2pPr marL="325078" indent="0">
              <a:buNone/>
              <a:defRPr sz="2000"/>
            </a:lvl2pPr>
            <a:lvl3pPr marL="650156" indent="0">
              <a:buNone/>
              <a:defRPr sz="1600"/>
            </a:lvl3pPr>
            <a:lvl4pPr marL="975234" indent="0">
              <a:buNone/>
              <a:defRPr sz="1600"/>
            </a:lvl4pPr>
            <a:lvl5pPr marL="1300316" indent="0">
              <a:buNone/>
              <a:defRPr sz="1600"/>
            </a:lvl5pPr>
            <a:lvl6pPr marL="1625394" indent="0">
              <a:buNone/>
              <a:defRPr sz="1600"/>
            </a:lvl6pPr>
            <a:lvl7pPr marL="1950472" indent="0">
              <a:buNone/>
              <a:defRPr sz="1600"/>
            </a:lvl7pPr>
            <a:lvl8pPr marL="2275550" indent="0">
              <a:buNone/>
              <a:defRPr sz="1600"/>
            </a:lvl8pPr>
            <a:lvl9pPr marL="2600628" indent="0">
              <a:buNone/>
              <a:defRPr sz="16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032972" y="28625886"/>
            <a:ext cx="12344400" cy="4292764"/>
          </a:xfrm>
        </p:spPr>
        <p:txBody>
          <a:bodyPr/>
          <a:lstStyle>
            <a:lvl1pPr marL="0" indent="0">
              <a:buNone/>
              <a:defRPr sz="800"/>
            </a:lvl1pPr>
            <a:lvl2pPr marL="325078" indent="0">
              <a:buNone/>
              <a:defRPr sz="800"/>
            </a:lvl2pPr>
            <a:lvl3pPr marL="650156" indent="0">
              <a:buNone/>
              <a:defRPr sz="800"/>
            </a:lvl3pPr>
            <a:lvl4pPr marL="975234" indent="0">
              <a:buNone/>
              <a:defRPr sz="800"/>
            </a:lvl4pPr>
            <a:lvl5pPr marL="1300316" indent="0">
              <a:buNone/>
              <a:defRPr sz="800"/>
            </a:lvl5pPr>
            <a:lvl6pPr marL="1625394" indent="0">
              <a:buNone/>
              <a:defRPr sz="800"/>
            </a:lvl6pPr>
            <a:lvl7pPr marL="1950472" indent="0">
              <a:buNone/>
              <a:defRPr sz="800"/>
            </a:lvl7pPr>
            <a:lvl8pPr marL="2275550" indent="0">
              <a:buNone/>
              <a:defRPr sz="800"/>
            </a:lvl8pPr>
            <a:lvl9pPr marL="2600628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1/13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15186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1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64237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4916148" y="1464434"/>
            <a:ext cx="4629152" cy="3120849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28702" y="1464434"/>
            <a:ext cx="13793932" cy="3120849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1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1056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43054" y="11361744"/>
            <a:ext cx="17487900" cy="78409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86100" y="20726650"/>
            <a:ext cx="14401800" cy="9347532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25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501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75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003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253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950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2755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00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1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2351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1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4333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24882" y="23502862"/>
            <a:ext cx="17487900" cy="7265060"/>
          </a:xfrm>
        </p:spPr>
        <p:txBody>
          <a:bodyPr anchor="t"/>
          <a:lstStyle>
            <a:lvl1pPr algn="l">
              <a:defRPr sz="28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24882" y="15501860"/>
            <a:ext cx="17487900" cy="800100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32507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5015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975234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4pPr>
            <a:lvl5pPr marL="1300316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5pPr>
            <a:lvl6pPr marL="1625394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6pPr>
            <a:lvl7pPr marL="1950472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7pPr>
            <a:lvl8pPr marL="227555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8pPr>
            <a:lvl9pPr marL="2600628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1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1323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8702" y="8534648"/>
            <a:ext cx="9211540" cy="24138272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333762" y="8534648"/>
            <a:ext cx="9211540" cy="24138272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1/13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24677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8702" y="8187156"/>
            <a:ext cx="9090748" cy="3411624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25078" indent="0">
              <a:buNone/>
              <a:defRPr sz="1600" b="1"/>
            </a:lvl2pPr>
            <a:lvl3pPr marL="650156" indent="0">
              <a:buNone/>
              <a:defRPr sz="1200" b="1"/>
            </a:lvl3pPr>
            <a:lvl4pPr marL="975234" indent="0">
              <a:buNone/>
              <a:defRPr sz="1200" b="1"/>
            </a:lvl4pPr>
            <a:lvl5pPr marL="1300316" indent="0">
              <a:buNone/>
              <a:defRPr sz="1200" b="1"/>
            </a:lvl5pPr>
            <a:lvl6pPr marL="1625394" indent="0">
              <a:buNone/>
              <a:defRPr sz="1200" b="1"/>
            </a:lvl6pPr>
            <a:lvl7pPr marL="1950472" indent="0">
              <a:buNone/>
              <a:defRPr sz="1200" b="1"/>
            </a:lvl7pPr>
            <a:lvl8pPr marL="2275550" indent="0">
              <a:buNone/>
              <a:defRPr sz="1200" b="1"/>
            </a:lvl8pPr>
            <a:lvl9pPr marL="260062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8702" y="11598782"/>
            <a:ext cx="9090748" cy="2107414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0451634" y="8187156"/>
            <a:ext cx="9093668" cy="3411624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25078" indent="0">
              <a:buNone/>
              <a:defRPr sz="1600" b="1"/>
            </a:lvl2pPr>
            <a:lvl3pPr marL="650156" indent="0">
              <a:buNone/>
              <a:defRPr sz="1200" b="1"/>
            </a:lvl3pPr>
            <a:lvl4pPr marL="975234" indent="0">
              <a:buNone/>
              <a:defRPr sz="1200" b="1"/>
            </a:lvl4pPr>
            <a:lvl5pPr marL="1300316" indent="0">
              <a:buNone/>
              <a:defRPr sz="1200" b="1"/>
            </a:lvl5pPr>
            <a:lvl6pPr marL="1625394" indent="0">
              <a:buNone/>
              <a:defRPr sz="1200" b="1"/>
            </a:lvl6pPr>
            <a:lvl7pPr marL="1950472" indent="0">
              <a:buNone/>
              <a:defRPr sz="1200" b="1"/>
            </a:lvl7pPr>
            <a:lvl8pPr marL="2275550" indent="0">
              <a:buNone/>
              <a:defRPr sz="1200" b="1"/>
            </a:lvl8pPr>
            <a:lvl9pPr marL="260062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0451634" y="11598782"/>
            <a:ext cx="9093668" cy="2107414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1/13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62571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8700" y="1464428"/>
            <a:ext cx="18516600" cy="6096000"/>
          </a:xfrm>
          <a:prstGeom prst="rect">
            <a:avLst/>
          </a:prstGeom>
        </p:spPr>
        <p:txBody>
          <a:bodyPr lIns="65016" tIns="32508" rIns="65016" bIns="32508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855703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1/13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58296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1/13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63430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8702" y="1455746"/>
            <a:ext cx="6768380" cy="6197764"/>
          </a:xfrm>
        </p:spPr>
        <p:txBody>
          <a:bodyPr anchor="b"/>
          <a:lstStyle>
            <a:lvl1pPr algn="l">
              <a:defRPr sz="1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043540" y="1455746"/>
            <a:ext cx="11501760" cy="3121718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8702" y="7653510"/>
            <a:ext cx="6768380" cy="25019412"/>
          </a:xfrm>
        </p:spPr>
        <p:txBody>
          <a:bodyPr/>
          <a:lstStyle>
            <a:lvl1pPr marL="0" indent="0">
              <a:buNone/>
              <a:defRPr sz="800"/>
            </a:lvl1pPr>
            <a:lvl2pPr marL="325078" indent="0">
              <a:buNone/>
              <a:defRPr sz="800"/>
            </a:lvl2pPr>
            <a:lvl3pPr marL="650156" indent="0">
              <a:buNone/>
              <a:defRPr sz="800"/>
            </a:lvl3pPr>
            <a:lvl4pPr marL="975234" indent="0">
              <a:buNone/>
              <a:defRPr sz="800"/>
            </a:lvl4pPr>
            <a:lvl5pPr marL="1300316" indent="0">
              <a:buNone/>
              <a:defRPr sz="800"/>
            </a:lvl5pPr>
            <a:lvl6pPr marL="1625394" indent="0">
              <a:buNone/>
              <a:defRPr sz="800"/>
            </a:lvl6pPr>
            <a:lvl7pPr marL="1950472" indent="0">
              <a:buNone/>
              <a:defRPr sz="800"/>
            </a:lvl7pPr>
            <a:lvl8pPr marL="2275550" indent="0">
              <a:buNone/>
              <a:defRPr sz="800"/>
            </a:lvl8pPr>
            <a:lvl9pPr marL="2600628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1/13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06483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32972" y="25602706"/>
            <a:ext cx="12344400" cy="3023180"/>
          </a:xfrm>
        </p:spPr>
        <p:txBody>
          <a:bodyPr anchor="b"/>
          <a:lstStyle>
            <a:lvl1pPr algn="l">
              <a:defRPr sz="1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032972" y="3267664"/>
            <a:ext cx="12344400" cy="21946592"/>
          </a:xfrm>
        </p:spPr>
        <p:txBody>
          <a:bodyPr/>
          <a:lstStyle>
            <a:lvl1pPr marL="0" indent="0">
              <a:buNone/>
              <a:defRPr sz="2400"/>
            </a:lvl1pPr>
            <a:lvl2pPr marL="325078" indent="0">
              <a:buNone/>
              <a:defRPr sz="2000"/>
            </a:lvl2pPr>
            <a:lvl3pPr marL="650156" indent="0">
              <a:buNone/>
              <a:defRPr sz="1600"/>
            </a:lvl3pPr>
            <a:lvl4pPr marL="975234" indent="0">
              <a:buNone/>
              <a:defRPr sz="1600"/>
            </a:lvl4pPr>
            <a:lvl5pPr marL="1300316" indent="0">
              <a:buNone/>
              <a:defRPr sz="1600"/>
            </a:lvl5pPr>
            <a:lvl6pPr marL="1625394" indent="0">
              <a:buNone/>
              <a:defRPr sz="1600"/>
            </a:lvl6pPr>
            <a:lvl7pPr marL="1950472" indent="0">
              <a:buNone/>
              <a:defRPr sz="1600"/>
            </a:lvl7pPr>
            <a:lvl8pPr marL="2275550" indent="0">
              <a:buNone/>
              <a:defRPr sz="1600"/>
            </a:lvl8pPr>
            <a:lvl9pPr marL="2600628" indent="0">
              <a:buNone/>
              <a:defRPr sz="16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032972" y="28625886"/>
            <a:ext cx="12344400" cy="4292764"/>
          </a:xfrm>
        </p:spPr>
        <p:txBody>
          <a:bodyPr/>
          <a:lstStyle>
            <a:lvl1pPr marL="0" indent="0">
              <a:buNone/>
              <a:defRPr sz="800"/>
            </a:lvl1pPr>
            <a:lvl2pPr marL="325078" indent="0">
              <a:buNone/>
              <a:defRPr sz="800"/>
            </a:lvl2pPr>
            <a:lvl3pPr marL="650156" indent="0">
              <a:buNone/>
              <a:defRPr sz="800"/>
            </a:lvl3pPr>
            <a:lvl4pPr marL="975234" indent="0">
              <a:buNone/>
              <a:defRPr sz="800"/>
            </a:lvl4pPr>
            <a:lvl5pPr marL="1300316" indent="0">
              <a:buNone/>
              <a:defRPr sz="800"/>
            </a:lvl5pPr>
            <a:lvl6pPr marL="1625394" indent="0">
              <a:buNone/>
              <a:defRPr sz="800"/>
            </a:lvl6pPr>
            <a:lvl7pPr marL="1950472" indent="0">
              <a:buNone/>
              <a:defRPr sz="800"/>
            </a:lvl7pPr>
            <a:lvl8pPr marL="2275550" indent="0">
              <a:buNone/>
              <a:defRPr sz="800"/>
            </a:lvl8pPr>
            <a:lvl9pPr marL="2600628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1/13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9300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1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5173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4916148" y="1464434"/>
            <a:ext cx="4629152" cy="3120849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28702" y="1464434"/>
            <a:ext cx="13793932" cy="3120849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3ED-6A83-433F-A2E6-A3CF0250EF33}" type="datetimeFigureOut">
              <a:rPr lang="en-US" smtClean="0"/>
              <a:t>1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1920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373550" y="6016148"/>
            <a:ext cx="17150844" cy="28934088"/>
          </a:xfrm>
          <a:prstGeom prst="rect">
            <a:avLst/>
          </a:prstGeom>
        </p:spPr>
        <p:txBody>
          <a:bodyPr lIns="65016" tIns="32508" rIns="65016" bIns="32508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1pPr>
            <a:lvl2pPr marL="1524936" indent="-76303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50000"/>
              <a:buFont typeface="Arial" pitchFamily="34" charset="0"/>
              <a:buChar char="•"/>
              <a:defRPr sz="2800">
                <a:solidFill>
                  <a:schemeClr val="tx1"/>
                </a:solidFill>
              </a:defRPr>
            </a:lvl2pPr>
            <a:lvl3pPr marL="2286840" indent="-76190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50000"/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3pPr>
            <a:lvl4pPr marL="3071318" indent="-78447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50000"/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4pPr>
            <a:lvl5pPr marL="3833218" indent="-76190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50000"/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5pPr>
            <a:lvl6pPr marL="4596254" indent="-76303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50000"/>
              <a:buFont typeface="Arial" pitchFamily="34" charset="0"/>
              <a:buChar char="•"/>
              <a:defRPr sz="2000">
                <a:solidFill>
                  <a:schemeClr val="tx1"/>
                </a:solidFill>
              </a:defRPr>
            </a:lvl6pPr>
            <a:lvl7pPr marL="5358154" indent="-76190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50000"/>
              <a:buFont typeface="Arial" pitchFamily="34" charset="0"/>
              <a:buChar char="•"/>
              <a:defRPr sz="2000" baseline="0">
                <a:solidFill>
                  <a:schemeClr val="tx1"/>
                </a:solidFill>
              </a:defRPr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5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12187028" y="4643648"/>
            <a:ext cx="6335880" cy="2482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000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ategory</a:t>
            </a:r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2187034" y="4080780"/>
            <a:ext cx="6335508" cy="2482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000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nl-NL"/>
              <a:t>Slide </a:t>
            </a:r>
            <a:fld id="{1D9B13CD-33A0-446D-8703-F89F9F109F54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187028" y="3517916"/>
            <a:ext cx="6342672" cy="248208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6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12th ASML Technology Conference June 29th, 2011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374058" y="2016442"/>
            <a:ext cx="9940908" cy="993460"/>
          </a:xfrm>
          <a:prstGeom prst="rect">
            <a:avLst/>
          </a:prstGeom>
        </p:spPr>
        <p:txBody>
          <a:bodyPr lIns="0" tIns="0" rIns="0" bIns="0" anchor="b"/>
          <a:lstStyle>
            <a:lvl1pPr>
              <a:spcBef>
                <a:spcPts val="0"/>
              </a:spcBef>
              <a:spcAft>
                <a:spcPts val="0"/>
              </a:spcAft>
              <a:defRPr sz="6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10" name="Tijdelijke aanduiding voor tekst 7"/>
          <p:cNvSpPr>
            <a:spLocks noGrp="1"/>
          </p:cNvSpPr>
          <p:nvPr>
            <p:ph type="body" sz="quarter" idx="13"/>
          </p:nvPr>
        </p:nvSpPr>
        <p:spPr>
          <a:xfrm>
            <a:off x="1373550" y="3188066"/>
            <a:ext cx="9940908" cy="595700"/>
          </a:xfrm>
          <a:prstGeom prst="rect">
            <a:avLst/>
          </a:prstGeom>
        </p:spPr>
        <p:txBody>
          <a:bodyPr lIns="65016" tIns="32508" rIns="65016" bIns="32508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6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0900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43054" y="11361744"/>
            <a:ext cx="17487900" cy="78409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86100" y="20726650"/>
            <a:ext cx="14401800" cy="9347532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25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501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75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003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253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950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2755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00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1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57220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1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94778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24882" y="23502862"/>
            <a:ext cx="17487900" cy="7265060"/>
          </a:xfrm>
        </p:spPr>
        <p:txBody>
          <a:bodyPr anchor="t"/>
          <a:lstStyle>
            <a:lvl1pPr algn="l">
              <a:defRPr sz="28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24882" y="15501860"/>
            <a:ext cx="17487900" cy="800100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32507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5015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975234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4pPr>
            <a:lvl5pPr marL="1300316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5pPr>
            <a:lvl6pPr marL="1625394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6pPr>
            <a:lvl7pPr marL="1950472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7pPr>
            <a:lvl8pPr marL="227555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8pPr>
            <a:lvl9pPr marL="2600628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1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0159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8702" y="8534648"/>
            <a:ext cx="9211540" cy="24138272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333762" y="8534648"/>
            <a:ext cx="9211540" cy="24138272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1/13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10120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8702" y="8187156"/>
            <a:ext cx="9090748" cy="3411624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25078" indent="0">
              <a:buNone/>
              <a:defRPr sz="1600" b="1"/>
            </a:lvl2pPr>
            <a:lvl3pPr marL="650156" indent="0">
              <a:buNone/>
              <a:defRPr sz="1200" b="1"/>
            </a:lvl3pPr>
            <a:lvl4pPr marL="975234" indent="0">
              <a:buNone/>
              <a:defRPr sz="1200" b="1"/>
            </a:lvl4pPr>
            <a:lvl5pPr marL="1300316" indent="0">
              <a:buNone/>
              <a:defRPr sz="1200" b="1"/>
            </a:lvl5pPr>
            <a:lvl6pPr marL="1625394" indent="0">
              <a:buNone/>
              <a:defRPr sz="1200" b="1"/>
            </a:lvl6pPr>
            <a:lvl7pPr marL="1950472" indent="0">
              <a:buNone/>
              <a:defRPr sz="1200" b="1"/>
            </a:lvl7pPr>
            <a:lvl8pPr marL="2275550" indent="0">
              <a:buNone/>
              <a:defRPr sz="1200" b="1"/>
            </a:lvl8pPr>
            <a:lvl9pPr marL="260062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8702" y="11598782"/>
            <a:ext cx="9090748" cy="2107414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0451634" y="8187156"/>
            <a:ext cx="9093668" cy="3411624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25078" indent="0">
              <a:buNone/>
              <a:defRPr sz="1600" b="1"/>
            </a:lvl2pPr>
            <a:lvl3pPr marL="650156" indent="0">
              <a:buNone/>
              <a:defRPr sz="1200" b="1"/>
            </a:lvl3pPr>
            <a:lvl4pPr marL="975234" indent="0">
              <a:buNone/>
              <a:defRPr sz="1200" b="1"/>
            </a:lvl4pPr>
            <a:lvl5pPr marL="1300316" indent="0">
              <a:buNone/>
              <a:defRPr sz="1200" b="1"/>
            </a:lvl5pPr>
            <a:lvl6pPr marL="1625394" indent="0">
              <a:buNone/>
              <a:defRPr sz="1200" b="1"/>
            </a:lvl6pPr>
            <a:lvl7pPr marL="1950472" indent="0">
              <a:buNone/>
              <a:defRPr sz="1200" b="1"/>
            </a:lvl7pPr>
            <a:lvl8pPr marL="2275550" indent="0">
              <a:buNone/>
              <a:defRPr sz="1200" b="1"/>
            </a:lvl8pPr>
            <a:lvl9pPr marL="260062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0451634" y="11598782"/>
            <a:ext cx="9093668" cy="2107414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1/13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63857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6799F-0A25-48E1-93D5-D2807F49CD2E}" type="datetimeFigureOut">
              <a:rPr lang="en-US" smtClean="0"/>
              <a:t>1/13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65399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SIPCMContentMarking" descr="{&quot;HashCode&quot;:-1584269589,&quot;Placement&quot;:&quot;Footer&quot;,&quot;Top&quot;:2864.10449,&quot;Left&quot;:1565.3905,&quot;SlideWidth&quot;:1620,&quot;SlideHeight&quot;:2880}">
            <a:extLst>
              <a:ext uri="{FF2B5EF4-FFF2-40B4-BE49-F238E27FC236}">
                <a16:creationId xmlns:a16="http://schemas.microsoft.com/office/drawing/2014/main" id="{0CABC3F8-93D1-4C43-B979-654E43A20F9D}"/>
              </a:ext>
            </a:extLst>
          </p:cNvPr>
          <p:cNvSpPr txBox="1"/>
          <p:nvPr userDrawn="1"/>
        </p:nvSpPr>
        <p:spPr>
          <a:xfrm>
            <a:off x="19880459" y="36374130"/>
            <a:ext cx="693541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700">
                <a:solidFill>
                  <a:srgbClr val="000000"/>
                </a:solidFill>
                <a:latin typeface="Arial" panose="020B0604020202020204" pitchFamily="34" charset="0"/>
              </a:rPr>
              <a:t>Confidentia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9B2DE9E-EC4D-48A4-8002-8F02B5E041A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5241" y="4776"/>
            <a:ext cx="20589241" cy="3252628"/>
          </a:xfrm>
          <a:prstGeom prst="rect">
            <a:avLst/>
          </a:prstGeom>
        </p:spPr>
      </p:pic>
      <p:pic>
        <p:nvPicPr>
          <p:cNvPr id="10" name="Picture 9" descr="A black background with blue and purple text&#10;&#10;Description automatically generated">
            <a:extLst>
              <a:ext uri="{FF2B5EF4-FFF2-40B4-BE49-F238E27FC236}">
                <a16:creationId xmlns:a16="http://schemas.microsoft.com/office/drawing/2014/main" id="{2FEBBAA1-775D-DE67-F370-A61E2BB0379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" y="-7528"/>
            <a:ext cx="18288000" cy="3262685"/>
          </a:xfrm>
          <a:prstGeom prst="rect">
            <a:avLst/>
          </a:prstGeom>
        </p:spPr>
      </p:pic>
      <p:pic>
        <p:nvPicPr>
          <p:cNvPr id="3" name="Picture 2" descr="A black background with blue and green letters&#10;&#10;Description automatically generated">
            <a:extLst>
              <a:ext uri="{FF2B5EF4-FFF2-40B4-BE49-F238E27FC236}">
                <a16:creationId xmlns:a16="http://schemas.microsoft.com/office/drawing/2014/main" id="{490062C5-BAD4-4B91-A359-932F96D6B63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277" y="35018553"/>
            <a:ext cx="6211318" cy="113369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2" r:id="rId2"/>
    <p:sldLayoutId id="2147483651" r:id="rId3"/>
  </p:sldLayoutIdLst>
  <p:hf hdr="0"/>
  <p:txStyles>
    <p:titleStyle>
      <a:lvl1pPr algn="l" defTabSz="3231598" rtl="0" eaLnBrk="1" fontAlgn="base" hangingPunct="1">
        <a:spcBef>
          <a:spcPct val="10000"/>
        </a:spcBef>
        <a:spcAft>
          <a:spcPct val="20000"/>
        </a:spcAft>
        <a:defRPr sz="64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3231598" rtl="0" eaLnBrk="1" fontAlgn="base" hangingPunct="1">
        <a:spcBef>
          <a:spcPct val="10000"/>
        </a:spcBef>
        <a:spcAft>
          <a:spcPct val="20000"/>
        </a:spcAft>
        <a:defRPr sz="6400" b="1">
          <a:solidFill>
            <a:schemeClr val="tx2"/>
          </a:solidFill>
          <a:latin typeface="Arial" charset="0"/>
        </a:defRPr>
      </a:lvl2pPr>
      <a:lvl3pPr algn="l" defTabSz="3231598" rtl="0" eaLnBrk="1" fontAlgn="base" hangingPunct="1">
        <a:spcBef>
          <a:spcPct val="10000"/>
        </a:spcBef>
        <a:spcAft>
          <a:spcPct val="20000"/>
        </a:spcAft>
        <a:defRPr sz="6400" b="1">
          <a:solidFill>
            <a:schemeClr val="tx2"/>
          </a:solidFill>
          <a:latin typeface="Arial" charset="0"/>
        </a:defRPr>
      </a:lvl3pPr>
      <a:lvl4pPr algn="l" defTabSz="3231598" rtl="0" eaLnBrk="1" fontAlgn="base" hangingPunct="1">
        <a:spcBef>
          <a:spcPct val="10000"/>
        </a:spcBef>
        <a:spcAft>
          <a:spcPct val="20000"/>
        </a:spcAft>
        <a:defRPr sz="6400" b="1">
          <a:solidFill>
            <a:schemeClr val="tx2"/>
          </a:solidFill>
          <a:latin typeface="Arial" charset="0"/>
        </a:defRPr>
      </a:lvl4pPr>
      <a:lvl5pPr algn="l" defTabSz="3231598" rtl="0" eaLnBrk="1" fontAlgn="base" hangingPunct="1">
        <a:spcBef>
          <a:spcPct val="10000"/>
        </a:spcBef>
        <a:spcAft>
          <a:spcPct val="20000"/>
        </a:spcAft>
        <a:defRPr sz="6400" b="1">
          <a:solidFill>
            <a:schemeClr val="tx2"/>
          </a:solidFill>
          <a:latin typeface="Arial" charset="0"/>
        </a:defRPr>
      </a:lvl5pPr>
      <a:lvl6pPr marL="325078" algn="l" defTabSz="3231598" rtl="0" eaLnBrk="1" fontAlgn="base" hangingPunct="1">
        <a:spcBef>
          <a:spcPct val="10000"/>
        </a:spcBef>
        <a:spcAft>
          <a:spcPct val="20000"/>
        </a:spcAft>
        <a:defRPr sz="6400" b="1">
          <a:solidFill>
            <a:schemeClr val="tx2"/>
          </a:solidFill>
          <a:latin typeface="Arial" charset="0"/>
        </a:defRPr>
      </a:lvl6pPr>
      <a:lvl7pPr marL="650156" algn="l" defTabSz="3231598" rtl="0" eaLnBrk="1" fontAlgn="base" hangingPunct="1">
        <a:spcBef>
          <a:spcPct val="10000"/>
        </a:spcBef>
        <a:spcAft>
          <a:spcPct val="20000"/>
        </a:spcAft>
        <a:defRPr sz="6400" b="1">
          <a:solidFill>
            <a:schemeClr val="tx2"/>
          </a:solidFill>
          <a:latin typeface="Arial" charset="0"/>
        </a:defRPr>
      </a:lvl7pPr>
      <a:lvl8pPr marL="975234" algn="l" defTabSz="3231598" rtl="0" eaLnBrk="1" fontAlgn="base" hangingPunct="1">
        <a:spcBef>
          <a:spcPct val="10000"/>
        </a:spcBef>
        <a:spcAft>
          <a:spcPct val="20000"/>
        </a:spcAft>
        <a:defRPr sz="6400" b="1">
          <a:solidFill>
            <a:schemeClr val="tx2"/>
          </a:solidFill>
          <a:latin typeface="Arial" charset="0"/>
        </a:defRPr>
      </a:lvl8pPr>
      <a:lvl9pPr marL="1300316" algn="l" defTabSz="3231598" rtl="0" eaLnBrk="1" fontAlgn="base" hangingPunct="1">
        <a:spcBef>
          <a:spcPct val="10000"/>
        </a:spcBef>
        <a:spcAft>
          <a:spcPct val="20000"/>
        </a:spcAft>
        <a:defRPr sz="6400" b="1">
          <a:solidFill>
            <a:schemeClr val="tx2"/>
          </a:solidFill>
          <a:latin typeface="Arial" charset="0"/>
        </a:defRPr>
      </a:lvl9pPr>
    </p:titleStyle>
    <p:bodyStyle>
      <a:lvl1pPr marL="1212274" indent="-1212274" algn="l" defTabSz="3231598" rtl="0" eaLnBrk="1" fontAlgn="base" hangingPunct="1">
        <a:spcBef>
          <a:spcPct val="10000"/>
        </a:spcBef>
        <a:spcAft>
          <a:spcPct val="20000"/>
        </a:spcAft>
        <a:buClr>
          <a:schemeClr val="tx1"/>
        </a:buClr>
        <a:buSzPct val="50000"/>
        <a:buFont typeface="CommonBullets" pitchFamily="34" charset="2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2626590" indent="-1011358" algn="l" defTabSz="3231598" rtl="0" eaLnBrk="1" fontAlgn="base" hangingPunct="1">
        <a:spcBef>
          <a:spcPct val="10000"/>
        </a:spcBef>
        <a:spcAft>
          <a:spcPct val="20000"/>
        </a:spcAft>
        <a:buSzPct val="45000"/>
        <a:buFont typeface="CommonBullets" pitchFamily="34" charset="2"/>
        <a:buChar char="l"/>
        <a:defRPr sz="7200">
          <a:solidFill>
            <a:schemeClr val="tx1"/>
          </a:solidFill>
          <a:latin typeface="+mn-lt"/>
        </a:defRPr>
      </a:lvl2pPr>
      <a:lvl3pPr marL="4039782" indent="-808180" algn="l" defTabSz="3231598" rtl="0" eaLnBrk="1" fontAlgn="base" hangingPunct="1">
        <a:spcBef>
          <a:spcPct val="10000"/>
        </a:spcBef>
        <a:spcAft>
          <a:spcPct val="20000"/>
        </a:spcAft>
        <a:buClr>
          <a:schemeClr val="tx1"/>
        </a:buClr>
        <a:buSzPct val="40000"/>
        <a:buFont typeface="CommonBullets" pitchFamily="34" charset="2"/>
        <a:buChar char="l"/>
        <a:defRPr sz="6400">
          <a:solidFill>
            <a:schemeClr val="tx1"/>
          </a:solidFill>
          <a:latin typeface="+mn-lt"/>
        </a:defRPr>
      </a:lvl3pPr>
      <a:lvl4pPr marL="5520698" indent="-807052" algn="l" defTabSz="3231598" rtl="0" eaLnBrk="1" fontAlgn="base" hangingPunct="1">
        <a:spcBef>
          <a:spcPct val="10000"/>
        </a:spcBef>
        <a:spcAft>
          <a:spcPct val="20000"/>
        </a:spcAft>
        <a:buSzPct val="35000"/>
        <a:buFont typeface="CommonBullets" pitchFamily="34" charset="2"/>
        <a:buChar char="l"/>
        <a:defRPr sz="5600">
          <a:solidFill>
            <a:schemeClr val="tx1"/>
          </a:solidFill>
          <a:latin typeface="+mn-lt"/>
        </a:defRPr>
      </a:lvl4pPr>
      <a:lvl5pPr marL="7002740" indent="-808180" algn="l" defTabSz="3231598" rtl="0" eaLnBrk="1" fontAlgn="base" hangingPunct="1">
        <a:lnSpc>
          <a:spcPct val="90000"/>
        </a:lnSpc>
        <a:spcBef>
          <a:spcPct val="10000"/>
        </a:spcBef>
        <a:spcAft>
          <a:spcPct val="20000"/>
        </a:spcAft>
        <a:buClr>
          <a:schemeClr val="tx2"/>
        </a:buClr>
        <a:buSzPct val="30000"/>
        <a:buFont typeface="CommonBullets" pitchFamily="34" charset="2"/>
        <a:defRPr sz="4800">
          <a:solidFill>
            <a:schemeClr val="tx1"/>
          </a:solidFill>
          <a:latin typeface="+mn-lt"/>
        </a:defRPr>
      </a:lvl5pPr>
      <a:lvl6pPr marL="7327818" indent="-808180" algn="l" defTabSz="3231598" rtl="0" eaLnBrk="1" fontAlgn="base" hangingPunct="1">
        <a:lnSpc>
          <a:spcPct val="90000"/>
        </a:lnSpc>
        <a:spcBef>
          <a:spcPct val="10000"/>
        </a:spcBef>
        <a:spcAft>
          <a:spcPct val="20000"/>
        </a:spcAft>
        <a:buClr>
          <a:schemeClr val="tx2"/>
        </a:buClr>
        <a:buSzPct val="30000"/>
        <a:buFont typeface="CommonBullets" pitchFamily="34" charset="2"/>
        <a:defRPr sz="4800">
          <a:solidFill>
            <a:schemeClr val="tx1"/>
          </a:solidFill>
          <a:latin typeface="+mn-lt"/>
        </a:defRPr>
      </a:lvl6pPr>
      <a:lvl7pPr marL="7652896" indent="-808180" algn="l" defTabSz="3231598" rtl="0" eaLnBrk="1" fontAlgn="base" hangingPunct="1">
        <a:lnSpc>
          <a:spcPct val="90000"/>
        </a:lnSpc>
        <a:spcBef>
          <a:spcPct val="10000"/>
        </a:spcBef>
        <a:spcAft>
          <a:spcPct val="20000"/>
        </a:spcAft>
        <a:buClr>
          <a:schemeClr val="tx2"/>
        </a:buClr>
        <a:buSzPct val="30000"/>
        <a:buFont typeface="CommonBullets" pitchFamily="34" charset="2"/>
        <a:defRPr sz="4800">
          <a:solidFill>
            <a:schemeClr val="tx1"/>
          </a:solidFill>
          <a:latin typeface="+mn-lt"/>
        </a:defRPr>
      </a:lvl7pPr>
      <a:lvl8pPr marL="7977974" indent="-808180" algn="l" defTabSz="3231598" rtl="0" eaLnBrk="1" fontAlgn="base" hangingPunct="1">
        <a:lnSpc>
          <a:spcPct val="90000"/>
        </a:lnSpc>
        <a:spcBef>
          <a:spcPct val="10000"/>
        </a:spcBef>
        <a:spcAft>
          <a:spcPct val="20000"/>
        </a:spcAft>
        <a:buClr>
          <a:schemeClr val="tx2"/>
        </a:buClr>
        <a:buSzPct val="30000"/>
        <a:buFont typeface="CommonBullets" pitchFamily="34" charset="2"/>
        <a:defRPr sz="4800">
          <a:solidFill>
            <a:schemeClr val="tx1"/>
          </a:solidFill>
          <a:latin typeface="+mn-lt"/>
        </a:defRPr>
      </a:lvl8pPr>
      <a:lvl9pPr marL="8303052" indent="-808180" algn="l" defTabSz="3231598" rtl="0" eaLnBrk="1" fontAlgn="base" hangingPunct="1">
        <a:lnSpc>
          <a:spcPct val="90000"/>
        </a:lnSpc>
        <a:spcBef>
          <a:spcPct val="10000"/>
        </a:spcBef>
        <a:spcAft>
          <a:spcPct val="20000"/>
        </a:spcAft>
        <a:buClr>
          <a:schemeClr val="tx2"/>
        </a:buClr>
        <a:buSzPct val="30000"/>
        <a:buFont typeface="CommonBullets" pitchFamily="34" charset="2"/>
        <a:defRPr sz="4800">
          <a:solidFill>
            <a:schemeClr val="tx1"/>
          </a:solidFill>
          <a:latin typeface="+mn-lt"/>
        </a:defRPr>
      </a:lvl9pPr>
    </p:bodyStyle>
    <p:otherStyle>
      <a:defPPr>
        <a:defRPr lang="nl-NL"/>
      </a:defPPr>
      <a:lvl1pPr marL="0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25078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50156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75234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316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25394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50472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75550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600628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8700" y="1464428"/>
            <a:ext cx="18516600" cy="6096000"/>
          </a:xfrm>
          <a:prstGeom prst="rect">
            <a:avLst/>
          </a:prstGeom>
        </p:spPr>
        <p:txBody>
          <a:bodyPr vert="horz" lIns="65016" tIns="32508" rIns="65016" bIns="32508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8700" y="8534648"/>
            <a:ext cx="18516600" cy="24138272"/>
          </a:xfrm>
          <a:prstGeom prst="rect">
            <a:avLst/>
          </a:prstGeom>
        </p:spPr>
        <p:txBody>
          <a:bodyPr vert="horz" lIns="65016" tIns="32508" rIns="65016" bIns="3250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8700" y="33900314"/>
            <a:ext cx="4800600" cy="1947196"/>
          </a:xfrm>
          <a:prstGeom prst="rect">
            <a:avLst/>
          </a:prstGeom>
        </p:spPr>
        <p:txBody>
          <a:bodyPr vert="horz" lIns="65016" tIns="32508" rIns="65016" bIns="32508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96799F-0A25-48E1-93D5-D2807F49CD2E}" type="datetimeFigureOut">
              <a:rPr lang="en-US" smtClean="0"/>
              <a:t>1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29454" y="33900314"/>
            <a:ext cx="6515100" cy="1947196"/>
          </a:xfrm>
          <a:prstGeom prst="rect">
            <a:avLst/>
          </a:prstGeom>
        </p:spPr>
        <p:txBody>
          <a:bodyPr vert="horz" lIns="65016" tIns="32508" rIns="65016" bIns="32508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744700" y="33900314"/>
            <a:ext cx="4800600" cy="1947196"/>
          </a:xfrm>
          <a:prstGeom prst="rect">
            <a:avLst/>
          </a:prstGeom>
        </p:spPr>
        <p:txBody>
          <a:bodyPr vert="horz" lIns="65016" tIns="32508" rIns="65016" bIns="32508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5BD402-D3BB-4AE7-BF94-7DDCEC643EFB}" type="slidenum">
              <a:rPr lang="en-US" smtClean="0"/>
              <a:t>‹#›</a:t>
            </a:fld>
            <a:endParaRPr lang="en-US"/>
          </a:p>
        </p:txBody>
      </p:sp>
      <p:sp>
        <p:nvSpPr>
          <p:cNvPr id="7" name="MSIPCMContentMarking" descr="{&quot;HashCode&quot;:-1584269589,&quot;Placement&quot;:&quot;Footer&quot;,&quot;Top&quot;:2864.10449,&quot;Left&quot;:1565.3905,&quot;SlideWidth&quot;:1620,&quot;SlideHeight&quot;:2880}">
            <a:extLst>
              <a:ext uri="{FF2B5EF4-FFF2-40B4-BE49-F238E27FC236}">
                <a16:creationId xmlns:a16="http://schemas.microsoft.com/office/drawing/2014/main" id="{F890E11B-C964-457B-A145-00A0703E114A}"/>
              </a:ext>
            </a:extLst>
          </p:cNvPr>
          <p:cNvSpPr txBox="1"/>
          <p:nvPr userDrawn="1"/>
        </p:nvSpPr>
        <p:spPr>
          <a:xfrm>
            <a:off x="19880459" y="36374130"/>
            <a:ext cx="693541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700">
                <a:solidFill>
                  <a:srgbClr val="000000"/>
                </a:solidFill>
                <a:latin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244126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  <p:sldLayoutId id="2147483658" r:id="rId5"/>
    <p:sldLayoutId id="2147483659" r:id="rId6"/>
    <p:sldLayoutId id="2147483660" r:id="rId7"/>
    <p:sldLayoutId id="2147483661" r:id="rId8"/>
    <p:sldLayoutId id="2147483662" r:id="rId9"/>
    <p:sldLayoutId id="2147483663" r:id="rId10"/>
    <p:sldLayoutId id="2147483664" r:id="rId11"/>
  </p:sldLayoutIdLst>
  <p:txStyles>
    <p:titleStyle>
      <a:lvl1pPr algn="ctr" defTabSz="650156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3810" indent="-243810" algn="l" defTabSz="650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28256" indent="-203172" algn="l" defTabSz="650156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12696" indent="-162540" algn="l" defTabSz="650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37778" indent="-162540" algn="l" defTabSz="650156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62856" indent="-162540" algn="l" defTabSz="650156" rtl="0" eaLnBrk="1" latinLnBrk="0" hangingPunct="1">
        <a:spcBef>
          <a:spcPct val="20000"/>
        </a:spcBef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787934" indent="-162540" algn="l" defTabSz="650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113012" indent="-162540" algn="l" defTabSz="650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438090" indent="-162540" algn="l" defTabSz="650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763168" indent="-162540" algn="l" defTabSz="650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25078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50156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75234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316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25394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50472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75550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600628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8700" y="1464428"/>
            <a:ext cx="18516600" cy="6096000"/>
          </a:xfrm>
          <a:prstGeom prst="rect">
            <a:avLst/>
          </a:prstGeom>
        </p:spPr>
        <p:txBody>
          <a:bodyPr vert="horz" lIns="65016" tIns="32508" rIns="65016" bIns="32508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8700" y="8534648"/>
            <a:ext cx="18516600" cy="24138272"/>
          </a:xfrm>
          <a:prstGeom prst="rect">
            <a:avLst/>
          </a:prstGeom>
        </p:spPr>
        <p:txBody>
          <a:bodyPr vert="horz" lIns="65016" tIns="32508" rIns="65016" bIns="3250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8700" y="33900314"/>
            <a:ext cx="4800600" cy="1947196"/>
          </a:xfrm>
          <a:prstGeom prst="rect">
            <a:avLst/>
          </a:prstGeom>
        </p:spPr>
        <p:txBody>
          <a:bodyPr vert="horz" lIns="65016" tIns="32508" rIns="65016" bIns="32508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C423ED-6A83-433F-A2E6-A3CF0250EF33}" type="datetimeFigureOut">
              <a:rPr lang="en-US" smtClean="0"/>
              <a:t>1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29454" y="33900314"/>
            <a:ext cx="6515100" cy="1947196"/>
          </a:xfrm>
          <a:prstGeom prst="rect">
            <a:avLst/>
          </a:prstGeom>
        </p:spPr>
        <p:txBody>
          <a:bodyPr vert="horz" lIns="65016" tIns="32508" rIns="65016" bIns="32508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744700" y="33900314"/>
            <a:ext cx="4800600" cy="1947196"/>
          </a:xfrm>
          <a:prstGeom prst="rect">
            <a:avLst/>
          </a:prstGeom>
        </p:spPr>
        <p:txBody>
          <a:bodyPr vert="horz" lIns="65016" tIns="32508" rIns="65016" bIns="32508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9D443C-D373-4F64-A922-D924DA60401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MSIPCMContentMarking" descr="{&quot;HashCode&quot;:-1584269589,&quot;Placement&quot;:&quot;Footer&quot;,&quot;Top&quot;:2864.10449,&quot;Left&quot;:1565.3905,&quot;SlideWidth&quot;:1620,&quot;SlideHeight&quot;:2880}">
            <a:extLst>
              <a:ext uri="{FF2B5EF4-FFF2-40B4-BE49-F238E27FC236}">
                <a16:creationId xmlns:a16="http://schemas.microsoft.com/office/drawing/2014/main" id="{DB787B0E-CAED-4920-AD8F-FD255E53A4AE}"/>
              </a:ext>
            </a:extLst>
          </p:cNvPr>
          <p:cNvSpPr txBox="1"/>
          <p:nvPr userDrawn="1"/>
        </p:nvSpPr>
        <p:spPr>
          <a:xfrm>
            <a:off x="19880459" y="36374130"/>
            <a:ext cx="693541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700">
                <a:solidFill>
                  <a:srgbClr val="000000"/>
                </a:solidFill>
                <a:latin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977304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</p:sldLayoutIdLst>
  <p:txStyles>
    <p:titleStyle>
      <a:lvl1pPr algn="ctr" defTabSz="650156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3810" indent="-243810" algn="l" defTabSz="650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28256" indent="-203172" algn="l" defTabSz="650156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12696" indent="-162540" algn="l" defTabSz="650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37778" indent="-162540" algn="l" defTabSz="650156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62856" indent="-162540" algn="l" defTabSz="650156" rtl="0" eaLnBrk="1" latinLnBrk="0" hangingPunct="1">
        <a:spcBef>
          <a:spcPct val="20000"/>
        </a:spcBef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787934" indent="-162540" algn="l" defTabSz="650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113012" indent="-162540" algn="l" defTabSz="650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438090" indent="-162540" algn="l" defTabSz="650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763168" indent="-162540" algn="l" defTabSz="650156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25078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50156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75234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00316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25394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50472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75550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600628" algn="l" defTabSz="650156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60" name="Text Box 40"/>
          <p:cNvSpPr txBox="1">
            <a:spLocks noChangeArrowheads="1"/>
          </p:cNvSpPr>
          <p:nvPr/>
        </p:nvSpPr>
        <p:spPr bwMode="auto">
          <a:xfrm>
            <a:off x="16230600" y="34732310"/>
            <a:ext cx="1219200" cy="68119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square" lIns="65012" tIns="32504" rIns="65012" bIns="32504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4000" dirty="0">
                <a:solidFill>
                  <a:schemeClr val="bg1"/>
                </a:solidFill>
              </a:rPr>
              <a:t>999</a:t>
            </a:r>
            <a:endParaRPr lang="en-US" sz="6400" dirty="0"/>
          </a:p>
        </p:txBody>
      </p:sp>
      <p:sp>
        <p:nvSpPr>
          <p:cNvPr id="337961" name="Text Box 41"/>
          <p:cNvSpPr txBox="1">
            <a:spLocks noChangeArrowheads="1"/>
          </p:cNvSpPr>
          <p:nvPr/>
        </p:nvSpPr>
        <p:spPr bwMode="auto">
          <a:xfrm>
            <a:off x="17602200" y="34732309"/>
            <a:ext cx="928036" cy="55808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wrap="square" lIns="65012" tIns="32504" rIns="65012" bIns="32504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3200" dirty="0">
                <a:solidFill>
                  <a:schemeClr val="bg1"/>
                </a:solidFill>
              </a:rPr>
              <a:t>999</a:t>
            </a:r>
            <a:endParaRPr lang="en-US" sz="5200" dirty="0">
              <a:solidFill>
                <a:schemeClr val="bg1"/>
              </a:solidFill>
            </a:endParaRPr>
          </a:p>
        </p:txBody>
      </p:sp>
      <p:sp>
        <p:nvSpPr>
          <p:cNvPr id="337962" name="Comment 42"/>
          <p:cNvSpPr>
            <a:spLocks noChangeArrowheads="1"/>
          </p:cNvSpPr>
          <p:nvPr/>
        </p:nvSpPr>
        <p:spPr bwMode="auto">
          <a:xfrm>
            <a:off x="14838220" y="32842200"/>
            <a:ext cx="3693968" cy="1635304"/>
          </a:xfrm>
          <a:prstGeom prst="rect">
            <a:avLst/>
          </a:prstGeom>
          <a:solidFill>
            <a:srgbClr val="FCFDC6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  <a:extLst>
            <a:ext uri="{53640926-AAD7-44D8-BBD7-CCE9431645EC}">
              <a14:shadowObscured xmlns:a14="http://schemas.microsoft.com/office/drawing/2010/main" val="1"/>
            </a:ext>
          </a:extLst>
        </p:spPr>
        <p:txBody>
          <a:bodyPr lIns="65012" tIns="32504" rIns="65012" bIns="32504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solidFill>
                  <a:srgbClr val="000000"/>
                </a:solidFill>
              </a:rPr>
              <a:t>Poster-number:</a:t>
            </a:r>
            <a:endParaRPr lang="en-US" sz="1200" dirty="0">
              <a:solidFill>
                <a:srgbClr val="000000"/>
              </a:solidFill>
            </a:endParaRPr>
          </a:p>
          <a:p>
            <a:pPr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Please fill in the number of the poster given to you in the </a:t>
            </a:r>
            <a:r>
              <a:rPr lang="en-US" sz="1200" b="1" dirty="0">
                <a:solidFill>
                  <a:srgbClr val="000000"/>
                </a:solidFill>
              </a:rPr>
              <a:t>dark-blue</a:t>
            </a:r>
            <a:r>
              <a:rPr lang="en-US" sz="1200" dirty="0">
                <a:solidFill>
                  <a:srgbClr val="000000"/>
                </a:solidFill>
              </a:rPr>
              <a:t> square (replacing the 999) see </a:t>
            </a:r>
            <a:r>
              <a:rPr lang="en-US" sz="1200" dirty="0" err="1">
                <a:solidFill>
                  <a:srgbClr val="000000"/>
                </a:solidFill>
              </a:rPr>
              <a:t>xls</a:t>
            </a:r>
            <a:r>
              <a:rPr lang="en-US" sz="1200" dirty="0">
                <a:solidFill>
                  <a:srgbClr val="000000"/>
                </a:solidFill>
              </a:rPr>
              <a:t> list.</a:t>
            </a:r>
          </a:p>
          <a:p>
            <a:pPr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If your poster is linked to other posters (not </a:t>
            </a:r>
            <a:r>
              <a:rPr lang="en-US" sz="1200" dirty="0" err="1">
                <a:solidFill>
                  <a:srgbClr val="000000"/>
                </a:solidFill>
              </a:rPr>
              <a:t>a,b</a:t>
            </a:r>
            <a:r>
              <a:rPr lang="en-US" sz="1200" dirty="0">
                <a:solidFill>
                  <a:srgbClr val="000000"/>
                </a:solidFill>
              </a:rPr>
              <a:t> or c!), note the other poster-numbers in </a:t>
            </a:r>
            <a:r>
              <a:rPr lang="en-US" sz="1200" b="1" dirty="0">
                <a:solidFill>
                  <a:srgbClr val="000000"/>
                </a:solidFill>
              </a:rPr>
              <a:t>light-blue</a:t>
            </a:r>
            <a:r>
              <a:rPr lang="en-US" sz="1200" dirty="0">
                <a:solidFill>
                  <a:srgbClr val="000000"/>
                </a:solidFill>
              </a:rPr>
              <a:t> squares. Remove and/or add squares as needed.</a:t>
            </a:r>
          </a:p>
          <a:p>
            <a:pPr>
              <a:spcBef>
                <a:spcPct val="50000"/>
              </a:spcBef>
            </a:pPr>
            <a:r>
              <a:rPr lang="en-US" sz="1200" dirty="0">
                <a:solidFill>
                  <a:srgbClr val="000000"/>
                </a:solidFill>
              </a:rPr>
              <a:t>Finally remove this comment </a:t>
            </a:r>
          </a:p>
        </p:txBody>
      </p:sp>
      <p:sp>
        <p:nvSpPr>
          <p:cNvPr id="337963" name="Text Box 43"/>
          <p:cNvSpPr txBox="1">
            <a:spLocks noChangeArrowheads="1"/>
          </p:cNvSpPr>
          <p:nvPr/>
        </p:nvSpPr>
        <p:spPr bwMode="auto">
          <a:xfrm>
            <a:off x="15163800" y="34732309"/>
            <a:ext cx="914400" cy="55808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wrap="square" lIns="65012" tIns="32504" rIns="65012" bIns="32504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3200" dirty="0">
                <a:solidFill>
                  <a:schemeClr val="bg1"/>
                </a:solidFill>
              </a:rPr>
              <a:t>999</a:t>
            </a:r>
            <a:endParaRPr lang="en-US" sz="5200" dirty="0">
              <a:solidFill>
                <a:schemeClr val="bg1"/>
              </a:solidFill>
            </a:endParaRPr>
          </a:p>
        </p:txBody>
      </p:sp>
      <p:sp>
        <p:nvSpPr>
          <p:cNvPr id="13" name="Tijdelijke aanduiding voor inhoud 12"/>
          <p:cNvSpPr>
            <a:spLocks noGrp="1"/>
          </p:cNvSpPr>
          <p:nvPr>
            <p:ph idx="1"/>
          </p:nvPr>
        </p:nvSpPr>
        <p:spPr>
          <a:xfrm>
            <a:off x="685800" y="5133752"/>
            <a:ext cx="19202400" cy="28568060"/>
          </a:xfrm>
        </p:spPr>
        <p:txBody>
          <a:bodyPr/>
          <a:lstStyle/>
          <a:p>
            <a:r>
              <a:rPr lang="nl-NL" sz="2400" dirty="0" err="1"/>
              <a:t>Text</a:t>
            </a:r>
            <a:r>
              <a:rPr lang="nl-NL" sz="2400" dirty="0"/>
              <a:t> </a:t>
            </a:r>
            <a:r>
              <a:rPr lang="nl-NL" sz="2400" dirty="0" err="1"/>
              <a:t>example</a:t>
            </a:r>
            <a:r>
              <a:rPr lang="nl-NL" sz="2400" dirty="0"/>
              <a:t> (</a:t>
            </a:r>
            <a:r>
              <a:rPr lang="nl-NL" sz="2400" dirty="0" err="1"/>
              <a:t>minimal</a:t>
            </a:r>
            <a:r>
              <a:rPr lang="nl-NL" sz="2400" dirty="0"/>
              <a:t> 24 </a:t>
            </a:r>
            <a:r>
              <a:rPr lang="nl-NL" sz="2400" dirty="0" err="1"/>
              <a:t>px</a:t>
            </a:r>
            <a:r>
              <a:rPr lang="nl-NL" sz="2400" dirty="0"/>
              <a:t>)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685800" y="3124200"/>
            <a:ext cx="9940908" cy="993460"/>
          </a:xfrm>
        </p:spPr>
        <p:txBody>
          <a:bodyPr/>
          <a:lstStyle/>
          <a:p>
            <a:r>
              <a:rPr lang="nl-NL" sz="4400" dirty="0" err="1"/>
              <a:t>Title</a:t>
            </a:r>
            <a:r>
              <a:rPr lang="nl-NL" sz="4400" dirty="0"/>
              <a:t> (</a:t>
            </a:r>
            <a:r>
              <a:rPr lang="nl-NL" sz="4400" dirty="0" err="1"/>
              <a:t>Arial</a:t>
            </a:r>
            <a:r>
              <a:rPr lang="nl-NL" sz="4400" dirty="0"/>
              <a:t>, 44px </a:t>
            </a:r>
            <a:r>
              <a:rPr lang="nl-NL" sz="4400" dirty="0" err="1"/>
              <a:t>bold</a:t>
            </a:r>
            <a:r>
              <a:rPr lang="nl-NL" sz="4400" dirty="0"/>
              <a:t>)</a:t>
            </a:r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3"/>
          </p:nvPr>
        </p:nvSpPr>
        <p:spPr>
          <a:xfrm>
            <a:off x="685800" y="4378712"/>
            <a:ext cx="9940908" cy="595700"/>
          </a:xfrm>
        </p:spPr>
        <p:txBody>
          <a:bodyPr/>
          <a:lstStyle/>
          <a:p>
            <a:r>
              <a:rPr lang="nl-NL" sz="2800" dirty="0"/>
              <a:t>Author(s): (</a:t>
            </a:r>
            <a:r>
              <a:rPr lang="nl-NL" sz="2800" dirty="0" err="1"/>
              <a:t>minimal</a:t>
            </a:r>
            <a:r>
              <a:rPr lang="nl-NL" sz="2800" dirty="0"/>
              <a:t>  28 </a:t>
            </a:r>
            <a:r>
              <a:rPr lang="nl-NL" sz="2800" dirty="0" err="1"/>
              <a:t>px</a:t>
            </a:r>
            <a:r>
              <a:rPr lang="nl-NL" sz="2800" dirty="0"/>
              <a:t>)</a:t>
            </a:r>
          </a:p>
        </p:txBody>
      </p:sp>
      <p:sp>
        <p:nvSpPr>
          <p:cNvPr id="17" name="Text Box 228"/>
          <p:cNvSpPr txBox="1">
            <a:spLocks noChangeArrowheads="1"/>
          </p:cNvSpPr>
          <p:nvPr/>
        </p:nvSpPr>
        <p:spPr bwMode="auto">
          <a:xfrm>
            <a:off x="1270288" y="34791882"/>
            <a:ext cx="3095840" cy="2503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5012" tIns="32504" rIns="65012" bIns="32504">
            <a:spAutoFit/>
          </a:bodyPr>
          <a:lstStyle/>
          <a:p>
            <a:r>
              <a:rPr lang="en-US" sz="1200" b="1" dirty="0"/>
              <a:t> IEEE 2025</a:t>
            </a:r>
            <a:endParaRPr lang="en-US" b="1" dirty="0"/>
          </a:p>
        </p:txBody>
      </p:sp>
      <p:cxnSp>
        <p:nvCxnSpPr>
          <p:cNvPr id="3" name="Straight Connector 2"/>
          <p:cNvCxnSpPr/>
          <p:nvPr/>
        </p:nvCxnSpPr>
        <p:spPr bwMode="auto">
          <a:xfrm flipV="1">
            <a:off x="1361280" y="34687450"/>
            <a:ext cx="1716895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zah+af1VEdInFy5jxqtA04FAAAAAAADAAAAAAADAAAAAwADAAEA////////BAAAAAMAEAAL+dZxuhfEoUy6nSCSWXhV8g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Dah+af1VEdInFy5jxqtA04DRGF0YQAbAAAABExpbmtlZFNoYXBlRGF0YQAFAAAAAAACTmFtZQAZAAAATGlua2VkU2hhcGVzRGF0YVByb3BlcnR5ABBWZXJzaW9uAAAAAAAJTGFzdFdyaXRlABL6BgqEAQAAAAEA/////8YAxgAAAAVfaWQAEAAAAAT51nG6F8ShTLqdIJJZeFXyA0RhdGEAUwAAAAhQcmVzZW50YXRpb25TY2FubmVkRm9yTGlua2VkU2hhcGVzAAECTnVtYmVyRm9ybWF0U2VwYXJhdG9yTW9kZQAKAAAAQXV0b21hdGljAAACTmFtZQAkAAAATGlua2VkU2hhcGVQcmVzZW50YXRpb25TZXR0aW5nc0RhdGEAEFZlcnNpb24AAAAAAAlMYXN0V3JpdGUATvoGCoQ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posterportraittemplate_TC2013_Vs2">
  <a:themeElements>
    <a:clrScheme name="ASML">
      <a:dk1>
        <a:srgbClr val="0F238C"/>
      </a:dk1>
      <a:lt1>
        <a:srgbClr val="FFFFFF"/>
      </a:lt1>
      <a:dk2>
        <a:srgbClr val="1C7DDB"/>
      </a:dk2>
      <a:lt2>
        <a:srgbClr val="86CEF4"/>
      </a:lt2>
      <a:accent1>
        <a:srgbClr val="0F238C"/>
      </a:accent1>
      <a:accent2>
        <a:srgbClr val="8E8E8E"/>
      </a:accent2>
      <a:accent3>
        <a:srgbClr val="FF7F45"/>
      </a:accent3>
      <a:accent4>
        <a:srgbClr val="34B233"/>
      </a:accent4>
      <a:accent5>
        <a:srgbClr val="FED100"/>
      </a:accent5>
      <a:accent6>
        <a:srgbClr val="1C7DDB"/>
      </a:accent6>
      <a:hlink>
        <a:srgbClr val="1C7DDB"/>
      </a:hlink>
      <a:folHlink>
        <a:srgbClr val="8E8E8E"/>
      </a:folHlink>
    </a:clrScheme>
    <a:fontScheme name="ASML_Presentation.po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SML_Presentation.pot 1">
        <a:dk1>
          <a:srgbClr val="0F238C"/>
        </a:dk1>
        <a:lt1>
          <a:srgbClr val="FFFFFF"/>
        </a:lt1>
        <a:dk2>
          <a:srgbClr val="0F238C"/>
        </a:dk2>
        <a:lt2>
          <a:srgbClr val="86CEF4"/>
        </a:lt2>
        <a:accent1>
          <a:srgbClr val="1C7DDB"/>
        </a:accent1>
        <a:accent2>
          <a:srgbClr val="FF870C"/>
        </a:accent2>
        <a:accent3>
          <a:srgbClr val="FFFFFF"/>
        </a:accent3>
        <a:accent4>
          <a:srgbClr val="0B1C77"/>
        </a:accent4>
        <a:accent5>
          <a:srgbClr val="ABBFEA"/>
        </a:accent5>
        <a:accent6>
          <a:srgbClr val="E77A0A"/>
        </a:accent6>
        <a:hlink>
          <a:srgbClr val="27BA51"/>
        </a:hlink>
        <a:folHlink>
          <a:srgbClr val="FFE51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Kantoorth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Kantoorth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osterportraittemplate_TC2013_Vs2</Template>
  <TotalTime>274</TotalTime>
  <Words>93</Words>
  <Application>Microsoft Office PowerPoint</Application>
  <PresentationFormat>Custom</PresentationFormat>
  <Paragraphs>12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ommonBullets</vt:lpstr>
      <vt:lpstr>posterportraittemplate_TC2013_Vs2</vt:lpstr>
      <vt:lpstr>Custom Design</vt:lpstr>
      <vt:lpstr>1_Custom Design</vt:lpstr>
      <vt:lpstr>Title (Arial, 44px bold)</vt:lpstr>
    </vt:vector>
  </TitlesOfParts>
  <Company>ASM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(Arial, 60pt bold)</dc:title>
  <dc:subject>Template for an A0 presentation</dc:subject>
  <dc:creator>Saskia Boeije</dc:creator>
  <cp:lastModifiedBy>Sara Diffenbach</cp:lastModifiedBy>
  <cp:revision>21</cp:revision>
  <cp:lastPrinted>2003-03-19T16:10:53Z</cp:lastPrinted>
  <dcterms:created xsi:type="dcterms:W3CDTF">2014-02-27T16:39:44Z</dcterms:created>
  <dcterms:modified xsi:type="dcterms:W3CDTF">2025-01-13T14:28:21Z</dcterms:modified>
  <cp:category>Corporate Identity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c18959a-f805-4b02-b465-c75c791063b3_Enabled">
    <vt:lpwstr>true</vt:lpwstr>
  </property>
  <property fmtid="{D5CDD505-2E9C-101B-9397-08002B2CF9AE}" pid="3" name="MSIP_Label_1c18959a-f805-4b02-b465-c75c791063b3_SetDate">
    <vt:lpwstr>2022-10-24T12:48:34Z</vt:lpwstr>
  </property>
  <property fmtid="{D5CDD505-2E9C-101B-9397-08002B2CF9AE}" pid="4" name="MSIP_Label_1c18959a-f805-4b02-b465-c75c791063b3_Method">
    <vt:lpwstr>Privileged</vt:lpwstr>
  </property>
  <property fmtid="{D5CDD505-2E9C-101B-9397-08002B2CF9AE}" pid="5" name="MSIP_Label_1c18959a-f805-4b02-b465-c75c791063b3_Name">
    <vt:lpwstr>1c18959a-f805-4b02-b465-c75c791063b3</vt:lpwstr>
  </property>
  <property fmtid="{D5CDD505-2E9C-101B-9397-08002B2CF9AE}" pid="6" name="MSIP_Label_1c18959a-f805-4b02-b465-c75c791063b3_SiteId">
    <vt:lpwstr>af73baa8-f594-4eb2-a39d-93e96cad61fc</vt:lpwstr>
  </property>
  <property fmtid="{D5CDD505-2E9C-101B-9397-08002B2CF9AE}" pid="7" name="MSIP_Label_1c18959a-f805-4b02-b465-c75c791063b3_ActionId">
    <vt:lpwstr>6e834bf0-6bfe-4628-b272-b8e42646a76c</vt:lpwstr>
  </property>
  <property fmtid="{D5CDD505-2E9C-101B-9397-08002B2CF9AE}" pid="8" name="MSIP_Label_1c18959a-f805-4b02-b465-c75c791063b3_ContentBits">
    <vt:lpwstr>2</vt:lpwstr>
  </property>
</Properties>
</file>